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sldIdLst>
    <p:sldId id="261" r:id="rId2"/>
  </p:sldIdLst>
  <p:sldSz cx="7556500" cy="10693400"/>
  <p:notesSz cx="6858000" cy="9144000"/>
  <p:embeddedFontLst>
    <p:embeddedFont>
      <p:font typeface="Ovo" panose="02020502070400060406" pitchFamily="18" charset="0"/>
      <p:regular r:id="rId3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5949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 autoAdjust="0"/>
    <p:restoredTop sz="94622" autoAdjust="0"/>
  </p:normalViewPr>
  <p:slideViewPr>
    <p:cSldViewPr>
      <p:cViewPr varScale="1">
        <p:scale>
          <a:sx n="68" d="100"/>
          <a:sy n="68" d="100"/>
        </p:scale>
        <p:origin x="2418" y="8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font" Target="fonts/font1.fntdata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2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2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2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2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2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27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27/202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27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27/202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27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27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4/2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13" Type="http://schemas.openxmlformats.org/officeDocument/2006/relationships/image" Target="../media/image11.png"/><Relationship Id="rId3" Type="http://schemas.openxmlformats.org/officeDocument/2006/relationships/image" Target="../media/image1.png"/><Relationship Id="rId7" Type="http://schemas.openxmlformats.org/officeDocument/2006/relationships/image" Target="../media/image5.png"/><Relationship Id="rId12" Type="http://schemas.openxmlformats.org/officeDocument/2006/relationships/image" Target="../media/image10.sv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6" Type="http://schemas.openxmlformats.org/officeDocument/2006/relationships/image" Target="../media/image4.svg"/><Relationship Id="rId11" Type="http://schemas.openxmlformats.org/officeDocument/2006/relationships/image" Target="../media/image9.png"/><Relationship Id="rId5" Type="http://schemas.openxmlformats.org/officeDocument/2006/relationships/image" Target="../media/image3.png"/><Relationship Id="rId10" Type="http://schemas.openxmlformats.org/officeDocument/2006/relationships/image" Target="../media/image8.svg"/><Relationship Id="rId4" Type="http://schemas.openxmlformats.org/officeDocument/2006/relationships/image" Target="../media/image2.svg"/><Relationship Id="rId9" Type="http://schemas.openxmlformats.org/officeDocument/2006/relationships/image" Target="../media/image7.png"/><Relationship Id="rId14" Type="http://schemas.openxmlformats.org/officeDocument/2006/relationships/image" Target="../media/image12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1EF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1" name="Group 8">
            <a:extLst>
              <a:ext uri="{FF2B5EF4-FFF2-40B4-BE49-F238E27FC236}">
                <a16:creationId xmlns:a16="http://schemas.microsoft.com/office/drawing/2014/main" id="{EB725D15-8E05-8AC5-8E5F-C2D152A5A0EB}"/>
              </a:ext>
            </a:extLst>
          </p:cNvPr>
          <p:cNvGrpSpPr/>
          <p:nvPr/>
        </p:nvGrpSpPr>
        <p:grpSpPr>
          <a:xfrm>
            <a:off x="871920" y="347274"/>
            <a:ext cx="9037370" cy="14173638"/>
            <a:chOff x="871920" y="347274"/>
            <a:chExt cx="9037370" cy="14173638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CB8CAA90-E846-970A-3CFC-7FE062521A83}"/>
                </a:ext>
              </a:extLst>
            </p:cNvPr>
            <p:cNvGrpSpPr/>
            <p:nvPr/>
          </p:nvGrpSpPr>
          <p:grpSpPr>
            <a:xfrm>
              <a:off x="4596979" y="347274"/>
              <a:ext cx="5312311" cy="14173638"/>
              <a:chOff x="4596979" y="347274"/>
              <a:chExt cx="5312311" cy="14173638"/>
            </a:xfrm>
          </p:grpSpPr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9B7DDA96-AE6E-EF69-C413-73950D7ACFD0}"/>
                  </a:ext>
                </a:extLst>
              </p:cNvPr>
              <p:cNvSpPr/>
              <p:nvPr/>
            </p:nvSpPr>
            <p:spPr>
              <a:xfrm rot="-904496">
                <a:off x="6514636" y="4264144"/>
                <a:ext cx="3394654" cy="5210046"/>
              </a:xfrm>
              <a:custGeom>
                <a:avLst/>
                <a:gdLst>
                  <a:gd name="connsiteX0" fmla="*/ 3394654 w 3394654"/>
                  <a:gd name="connsiteY0" fmla="*/ 2315669 h 5210046"/>
                  <a:gd name="connsiteX1" fmla="*/ 3394654 w 3394654"/>
                  <a:gd name="connsiteY1" fmla="*/ 5210046 h 5210046"/>
                  <a:gd name="connsiteX2" fmla="*/ 2615049 w 3394654"/>
                  <a:gd name="connsiteY2" fmla="*/ 5210046 h 5210046"/>
                  <a:gd name="connsiteX3" fmla="*/ 3394654 w 3394654"/>
                  <a:gd name="connsiteY3" fmla="*/ 0 h 5210046"/>
                  <a:gd name="connsiteX4" fmla="*/ 3394653 w 3394654"/>
                  <a:gd name="connsiteY4" fmla="*/ 459568 h 5210046"/>
                  <a:gd name="connsiteX5" fmla="*/ 1718024 w 3394654"/>
                  <a:gd name="connsiteY5" fmla="*/ 7965 h 5210046"/>
                  <a:gd name="connsiteX6" fmla="*/ 350565 w 3394654"/>
                  <a:gd name="connsiteY6" fmla="*/ 5084825 h 5210046"/>
                  <a:gd name="connsiteX7" fmla="*/ 815463 w 3394654"/>
                  <a:gd name="connsiteY7" fmla="*/ 5210046 h 5210046"/>
                  <a:gd name="connsiteX8" fmla="*/ 0 w 3394654"/>
                  <a:gd name="connsiteY8" fmla="*/ 5210046 h 5210046"/>
                  <a:gd name="connsiteX9" fmla="*/ 0 w 3394654"/>
                  <a:gd name="connsiteY9" fmla="*/ 0 h 52100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394654" h="5210046">
                    <a:moveTo>
                      <a:pt x="3394654" y="2315669"/>
                    </a:moveTo>
                    <a:lnTo>
                      <a:pt x="3394654" y="5210046"/>
                    </a:lnTo>
                    <a:lnTo>
                      <a:pt x="2615049" y="5210046"/>
                    </a:lnTo>
                    <a:close/>
                    <a:moveTo>
                      <a:pt x="3394654" y="0"/>
                    </a:moveTo>
                    <a:lnTo>
                      <a:pt x="3394653" y="459568"/>
                    </a:lnTo>
                    <a:lnTo>
                      <a:pt x="1718024" y="7965"/>
                    </a:lnTo>
                    <a:lnTo>
                      <a:pt x="350565" y="5084825"/>
                    </a:lnTo>
                    <a:lnTo>
                      <a:pt x="815463" y="5210046"/>
                    </a:lnTo>
                    <a:lnTo>
                      <a:pt x="0" y="5210046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3">
                  <a:alphaModFix amt="9999"/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a:blipFill>
              <a:ln cap="sq">
                <a:noFill/>
                <a:prstDash val="solid"/>
                <a:miter/>
              </a:ln>
            </p:spPr>
            <p:txBody>
              <a:bodyPr wrap="square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51" name="Freeform: Shape 50">
                <a:extLst>
                  <a:ext uri="{FF2B5EF4-FFF2-40B4-BE49-F238E27FC236}">
                    <a16:creationId xmlns:a16="http://schemas.microsoft.com/office/drawing/2014/main" id="{54410C00-9EAD-2D58-7F84-A6B7A83511E4}"/>
                  </a:ext>
                </a:extLst>
              </p:cNvPr>
              <p:cNvSpPr/>
              <p:nvPr/>
            </p:nvSpPr>
            <p:spPr>
              <a:xfrm rot="-1386012" flipH="1">
                <a:off x="4596979" y="7989296"/>
                <a:ext cx="4255735" cy="6531616"/>
              </a:xfrm>
              <a:custGeom>
                <a:avLst/>
                <a:gdLst>
                  <a:gd name="connsiteX0" fmla="*/ 4255735 w 4255735"/>
                  <a:gd name="connsiteY0" fmla="*/ 4881719 h 6531616"/>
                  <a:gd name="connsiteX1" fmla="*/ 2273595 w 4255735"/>
                  <a:gd name="connsiteY1" fmla="*/ 5727182 h 6531616"/>
                  <a:gd name="connsiteX2" fmla="*/ 2616718 w 4255735"/>
                  <a:gd name="connsiteY2" fmla="*/ 6531616 h 6531616"/>
                  <a:gd name="connsiteX3" fmla="*/ 4255735 w 4255735"/>
                  <a:gd name="connsiteY3" fmla="*/ 6531616 h 6531616"/>
                  <a:gd name="connsiteX4" fmla="*/ 0 w 4255735"/>
                  <a:gd name="connsiteY4" fmla="*/ 3585297 h 6531616"/>
                  <a:gd name="connsiteX5" fmla="*/ 0 w 4255735"/>
                  <a:gd name="connsiteY5" fmla="*/ 6531616 h 6531616"/>
                  <a:gd name="connsiteX6" fmla="*/ 1256724 w 4255735"/>
                  <a:gd name="connsiteY6" fmla="*/ 6531616 h 6531616"/>
                  <a:gd name="connsiteX7" fmla="*/ 0 w 4255735"/>
                  <a:gd name="connsiteY7" fmla="*/ 0 h 6531616"/>
                  <a:gd name="connsiteX8" fmla="*/ 0 w 4255735"/>
                  <a:gd name="connsiteY8" fmla="*/ 2162652 h 6531616"/>
                  <a:gd name="connsiteX9" fmla="*/ 637242 w 4255735"/>
                  <a:gd name="connsiteY9" fmla="*/ 1890843 h 6531616"/>
                  <a:gd name="connsiteX10" fmla="*/ 1142517 w 4255735"/>
                  <a:gd name="connsiteY10" fmla="*/ 3075432 h 6531616"/>
                  <a:gd name="connsiteX11" fmla="*/ 4255735 w 4255735"/>
                  <a:gd name="connsiteY11" fmla="*/ 1747520 h 6531616"/>
                  <a:gd name="connsiteX12" fmla="*/ 4255735 w 4255735"/>
                  <a:gd name="connsiteY12" fmla="*/ 0 h 65316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255735" h="6531616">
                    <a:moveTo>
                      <a:pt x="4255735" y="4881719"/>
                    </a:moveTo>
                    <a:lnTo>
                      <a:pt x="2273595" y="5727182"/>
                    </a:lnTo>
                    <a:lnTo>
                      <a:pt x="2616718" y="6531616"/>
                    </a:lnTo>
                    <a:lnTo>
                      <a:pt x="4255735" y="6531616"/>
                    </a:lnTo>
                    <a:close/>
                    <a:moveTo>
                      <a:pt x="0" y="3585297"/>
                    </a:moveTo>
                    <a:lnTo>
                      <a:pt x="0" y="6531616"/>
                    </a:lnTo>
                    <a:lnTo>
                      <a:pt x="1256724" y="6531616"/>
                    </a:lnTo>
                    <a:close/>
                    <a:moveTo>
                      <a:pt x="0" y="0"/>
                    </a:moveTo>
                    <a:lnTo>
                      <a:pt x="0" y="2162652"/>
                    </a:lnTo>
                    <a:lnTo>
                      <a:pt x="637242" y="1890843"/>
                    </a:lnTo>
                    <a:lnTo>
                      <a:pt x="1142517" y="3075432"/>
                    </a:lnTo>
                    <a:lnTo>
                      <a:pt x="4255735" y="1747520"/>
                    </a:lnTo>
                    <a:lnTo>
                      <a:pt x="4255735" y="0"/>
                    </a:lnTo>
                    <a:close/>
                  </a:path>
                </a:pathLst>
              </a:custGeom>
              <a:blipFill>
                <a:blip r:embed="rId3">
                  <a:alphaModFix amt="9999"/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a:blipFill>
              <a:ln cap="sq">
                <a:noFill/>
                <a:prstDash val="solid"/>
                <a:miter/>
              </a:ln>
            </p:spPr>
            <p:txBody>
              <a:bodyPr wrap="square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A773CC8C-2864-F411-EE8C-B255DCE1C783}"/>
                  </a:ext>
                </a:extLst>
              </p:cNvPr>
              <p:cNvSpPr/>
              <p:nvPr/>
            </p:nvSpPr>
            <p:spPr>
              <a:xfrm rot="-2175875">
                <a:off x="6158779" y="347274"/>
                <a:ext cx="2869344" cy="4276800"/>
              </a:xfrm>
              <a:custGeom>
                <a:avLst/>
                <a:gdLst>
                  <a:gd name="connsiteX0" fmla="*/ 2869344 w 2869344"/>
                  <a:gd name="connsiteY0" fmla="*/ 3296302 h 4276800"/>
                  <a:gd name="connsiteX1" fmla="*/ 2869344 w 2869344"/>
                  <a:gd name="connsiteY1" fmla="*/ 4276800 h 4276800"/>
                  <a:gd name="connsiteX2" fmla="*/ 2150029 w 2869344"/>
                  <a:gd name="connsiteY2" fmla="*/ 4276800 h 4276800"/>
                  <a:gd name="connsiteX3" fmla="*/ 2869344 w 2869344"/>
                  <a:gd name="connsiteY3" fmla="*/ 0 h 4276800"/>
                  <a:gd name="connsiteX4" fmla="*/ 2869344 w 2869344"/>
                  <a:gd name="connsiteY4" fmla="*/ 879871 h 4276800"/>
                  <a:gd name="connsiteX5" fmla="*/ 2507092 w 2869344"/>
                  <a:gd name="connsiteY5" fmla="*/ 614116 h 4276800"/>
                  <a:gd name="connsiteX6" fmla="*/ 208348 w 2869344"/>
                  <a:gd name="connsiteY6" fmla="*/ 3747534 h 4276800"/>
                  <a:gd name="connsiteX7" fmla="*/ 929791 w 2869344"/>
                  <a:gd name="connsiteY7" fmla="*/ 4276800 h 4276800"/>
                  <a:gd name="connsiteX8" fmla="*/ 0 w 2869344"/>
                  <a:gd name="connsiteY8" fmla="*/ 4276800 h 4276800"/>
                  <a:gd name="connsiteX9" fmla="*/ 0 w 2869344"/>
                  <a:gd name="connsiteY9" fmla="*/ 0 h 4276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869344" h="4276800">
                    <a:moveTo>
                      <a:pt x="2869344" y="3296302"/>
                    </a:moveTo>
                    <a:lnTo>
                      <a:pt x="2869344" y="4276800"/>
                    </a:lnTo>
                    <a:lnTo>
                      <a:pt x="2150029" y="4276800"/>
                    </a:lnTo>
                    <a:close/>
                    <a:moveTo>
                      <a:pt x="2869344" y="0"/>
                    </a:moveTo>
                    <a:lnTo>
                      <a:pt x="2869344" y="879871"/>
                    </a:lnTo>
                    <a:lnTo>
                      <a:pt x="2507092" y="614116"/>
                    </a:lnTo>
                    <a:lnTo>
                      <a:pt x="208348" y="3747534"/>
                    </a:lnTo>
                    <a:lnTo>
                      <a:pt x="929791" y="4276800"/>
                    </a:lnTo>
                    <a:lnTo>
                      <a:pt x="0" y="4276800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5">
                  <a:alphaModFix amt="9999"/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a:blipFill>
              <a:ln cap="sq">
                <a:noFill/>
                <a:prstDash val="solid"/>
                <a:miter/>
              </a:ln>
            </p:spPr>
            <p:txBody>
              <a:bodyPr wrap="square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42" name="Freeform 42"/>
              <p:cNvSpPr/>
              <p:nvPr/>
            </p:nvSpPr>
            <p:spPr>
              <a:xfrm flipH="1">
                <a:off x="5313825" y="6611694"/>
                <a:ext cx="908675" cy="918468"/>
              </a:xfrm>
              <a:custGeom>
                <a:avLst/>
                <a:gdLst/>
                <a:ahLst/>
                <a:cxnLst/>
                <a:rect l="l" t="t" r="r" b="b"/>
                <a:pathLst>
                  <a:path w="908675" h="918468">
                    <a:moveTo>
                      <a:pt x="908675" y="0"/>
                    </a:moveTo>
                    <a:lnTo>
                      <a:pt x="0" y="0"/>
                    </a:lnTo>
                    <a:lnTo>
                      <a:pt x="0" y="918468"/>
                    </a:lnTo>
                    <a:lnTo>
                      <a:pt x="908675" y="918468"/>
                    </a:lnTo>
                    <a:lnTo>
                      <a:pt x="908675" y="0"/>
                    </a:lnTo>
                    <a:close/>
                  </a:path>
                </a:pathLst>
              </a:custGeom>
              <a:blipFill>
                <a:blip r:embed="rId7">
                  <a:alphaModFix amt="19999"/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  <a:stretch>
                  <a:fillRect/>
                </a:stretch>
              </a:blipFill>
              <a:ln cap="sq">
                <a:noFill/>
                <a:prstDash val="solid"/>
                <a:miter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43" name="Freeform 43"/>
              <p:cNvSpPr/>
              <p:nvPr/>
            </p:nvSpPr>
            <p:spPr>
              <a:xfrm rot="1722370" flipH="1">
                <a:off x="6305112" y="3571188"/>
                <a:ext cx="455679" cy="460590"/>
              </a:xfrm>
              <a:custGeom>
                <a:avLst/>
                <a:gdLst/>
                <a:ahLst/>
                <a:cxnLst/>
                <a:rect l="l" t="t" r="r" b="b"/>
                <a:pathLst>
                  <a:path w="455679" h="460590">
                    <a:moveTo>
                      <a:pt x="455679" y="0"/>
                    </a:moveTo>
                    <a:lnTo>
                      <a:pt x="0" y="0"/>
                    </a:lnTo>
                    <a:lnTo>
                      <a:pt x="0" y="460590"/>
                    </a:lnTo>
                    <a:lnTo>
                      <a:pt x="455679" y="460590"/>
                    </a:lnTo>
                    <a:lnTo>
                      <a:pt x="455679" y="0"/>
                    </a:lnTo>
                    <a:close/>
                  </a:path>
                </a:pathLst>
              </a:custGeom>
              <a:blipFill>
                <a:blip r:embed="rId7">
                  <a:alphaModFix amt="19999"/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  <a:stretch>
                  <a:fillRect/>
                </a:stretch>
              </a:blipFill>
              <a:ln cap="sq">
                <a:noFill/>
                <a:prstDash val="solid"/>
                <a:miter/>
              </a:ln>
            </p:spPr>
            <p:txBody>
              <a:bodyPr/>
              <a:lstStyle/>
              <a:p>
                <a:endParaRPr lang="en-US" dirty="0"/>
              </a:p>
            </p:txBody>
          </p:sp>
        </p:grp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3DF1320F-0AA4-D4E1-CD61-57CA2EC430CD}"/>
                </a:ext>
              </a:extLst>
            </p:cNvPr>
            <p:cNvGrpSpPr/>
            <p:nvPr/>
          </p:nvGrpSpPr>
          <p:grpSpPr>
            <a:xfrm>
              <a:off x="890972" y="9304585"/>
              <a:ext cx="2426529" cy="521402"/>
              <a:chOff x="890972" y="9304585"/>
              <a:chExt cx="2426529" cy="521402"/>
            </a:xfrm>
          </p:grpSpPr>
          <p:sp>
            <p:nvSpPr>
              <p:cNvPr id="7" name="TextBox 7"/>
              <p:cNvSpPr txBox="1"/>
              <p:nvPr/>
            </p:nvSpPr>
            <p:spPr>
              <a:xfrm>
                <a:off x="1550546" y="9338525"/>
                <a:ext cx="1766955" cy="453522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>
                  <a:lnSpc>
                    <a:spcPts val="1217"/>
                  </a:lnSpc>
                  <a:spcBef>
                    <a:spcPct val="0"/>
                  </a:spcBef>
                </a:pPr>
                <a:r>
                  <a:rPr lang="en-US" sz="850" spc="67" dirty="0">
                    <a:solidFill>
                      <a:srgbClr val="242424"/>
                    </a:solidFill>
                    <a:latin typeface="Ovo"/>
                  </a:rPr>
                  <a:t>For more wedding details, scan this QR code to access all the information you need.</a:t>
                </a:r>
              </a:p>
            </p:txBody>
          </p:sp>
          <p:sp>
            <p:nvSpPr>
              <p:cNvPr id="2" name="Freeform 6">
                <a:extLst>
                  <a:ext uri="{FF2B5EF4-FFF2-40B4-BE49-F238E27FC236}">
                    <a16:creationId xmlns:a16="http://schemas.microsoft.com/office/drawing/2014/main" id="{D8C535B0-F4B4-BFFD-A382-7EC3CD297D6F}"/>
                  </a:ext>
                </a:extLst>
              </p:cNvPr>
              <p:cNvSpPr/>
              <p:nvPr/>
            </p:nvSpPr>
            <p:spPr>
              <a:xfrm>
                <a:off x="890972" y="9304585"/>
                <a:ext cx="521402" cy="521402"/>
              </a:xfrm>
              <a:custGeom>
                <a:avLst/>
                <a:gdLst/>
                <a:ahLst/>
                <a:cxnLst/>
                <a:rect l="l" t="t" r="r" b="b"/>
                <a:pathLst>
                  <a:path w="521402" h="521402">
                    <a:moveTo>
                      <a:pt x="0" y="0"/>
                    </a:moveTo>
                    <a:lnTo>
                      <a:pt x="521402" y="0"/>
                    </a:lnTo>
                    <a:lnTo>
                      <a:pt x="521402" y="521402"/>
                    </a:lnTo>
                    <a:lnTo>
                      <a:pt x="0" y="521402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9">
                  <a:extLs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BD5775C0-1C4A-6A15-B263-D6CD83659639}"/>
                </a:ext>
              </a:extLst>
            </p:cNvPr>
            <p:cNvGrpSpPr/>
            <p:nvPr/>
          </p:nvGrpSpPr>
          <p:grpSpPr>
            <a:xfrm>
              <a:off x="890972" y="4808111"/>
              <a:ext cx="4264071" cy="3850088"/>
              <a:chOff x="890972" y="4808111"/>
              <a:chExt cx="4264071" cy="3850088"/>
            </a:xfrm>
          </p:grpSpPr>
          <p:sp>
            <p:nvSpPr>
              <p:cNvPr id="24" name="AutoShape 24"/>
              <p:cNvSpPr/>
              <p:nvPr/>
            </p:nvSpPr>
            <p:spPr>
              <a:xfrm flipV="1">
                <a:off x="890972" y="4824848"/>
                <a:ext cx="0" cy="3816614"/>
              </a:xfrm>
              <a:prstGeom prst="line">
                <a:avLst/>
              </a:prstGeom>
              <a:ln w="9525" cap="flat">
                <a:solidFill>
                  <a:srgbClr val="959491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EA3973E3-FED8-5B89-D1AD-07821FDFF486}"/>
                  </a:ext>
                </a:extLst>
              </p:cNvPr>
              <p:cNvGrpSpPr/>
              <p:nvPr/>
            </p:nvGrpSpPr>
            <p:grpSpPr>
              <a:xfrm>
                <a:off x="1313695" y="4808111"/>
                <a:ext cx="3841348" cy="3850088"/>
                <a:chOff x="1313695" y="4794977"/>
                <a:chExt cx="3841348" cy="3850088"/>
              </a:xfrm>
            </p:grpSpPr>
            <p:grpSp>
              <p:nvGrpSpPr>
                <p:cNvPr id="9" name="Group 8">
                  <a:extLst>
                    <a:ext uri="{FF2B5EF4-FFF2-40B4-BE49-F238E27FC236}">
                      <a16:creationId xmlns:a16="http://schemas.microsoft.com/office/drawing/2014/main" id="{7F15A038-51FF-7785-D41B-73AAF2E2082B}"/>
                    </a:ext>
                  </a:extLst>
                </p:cNvPr>
                <p:cNvGrpSpPr/>
                <p:nvPr/>
              </p:nvGrpSpPr>
              <p:grpSpPr>
                <a:xfrm>
                  <a:off x="1313695" y="4794977"/>
                  <a:ext cx="3458096" cy="183012"/>
                  <a:chOff x="1313695" y="4794977"/>
                  <a:chExt cx="3458096" cy="183012"/>
                </a:xfrm>
              </p:grpSpPr>
              <p:sp>
                <p:nvSpPr>
                  <p:cNvPr id="26" name="TextBox 26"/>
                  <p:cNvSpPr txBox="1"/>
                  <p:nvPr/>
                </p:nvSpPr>
                <p:spPr>
                  <a:xfrm>
                    <a:off x="2476197" y="4796273"/>
                    <a:ext cx="2295594" cy="181716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marL="0" lvl="0" indent="0">
                      <a:lnSpc>
                        <a:spcPts val="1454"/>
                      </a:lnSpc>
                      <a:spcBef>
                        <a:spcPct val="0"/>
                      </a:spcBef>
                    </a:pPr>
                    <a:r>
                      <a:rPr lang="en-US" sz="1050" spc="207" dirty="0">
                        <a:solidFill>
                          <a:srgbClr val="242424"/>
                        </a:solidFill>
                        <a:latin typeface="Ovo"/>
                      </a:rPr>
                      <a:t>ARRIVAL AND GREETING</a:t>
                    </a:r>
                  </a:p>
                </p:txBody>
              </p:sp>
              <p:sp>
                <p:nvSpPr>
                  <p:cNvPr id="27" name="TextBox 27"/>
                  <p:cNvSpPr txBox="1"/>
                  <p:nvPr/>
                </p:nvSpPr>
                <p:spPr>
                  <a:xfrm>
                    <a:off x="1313695" y="4794977"/>
                    <a:ext cx="686405" cy="183012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marL="0" lvl="0" indent="0" algn="l">
                      <a:lnSpc>
                        <a:spcPts val="1454"/>
                      </a:lnSpc>
                      <a:spcBef>
                        <a:spcPct val="0"/>
                      </a:spcBef>
                    </a:pPr>
                    <a:r>
                      <a:rPr lang="en-US" sz="1050" u="none" strike="noStrike" spc="207" dirty="0">
                        <a:solidFill>
                          <a:srgbClr val="242424"/>
                        </a:solidFill>
                        <a:latin typeface="Ovo"/>
                      </a:rPr>
                      <a:t>4:00PM</a:t>
                    </a:r>
                  </a:p>
                </p:txBody>
              </p:sp>
            </p:grpSp>
            <p:grpSp>
              <p:nvGrpSpPr>
                <p:cNvPr id="14" name="Group 13">
                  <a:extLst>
                    <a:ext uri="{FF2B5EF4-FFF2-40B4-BE49-F238E27FC236}">
                      <a16:creationId xmlns:a16="http://schemas.microsoft.com/office/drawing/2014/main" id="{E86033B5-BB41-4077-2F3D-5EC2FC44F9DF}"/>
                    </a:ext>
                  </a:extLst>
                </p:cNvPr>
                <p:cNvGrpSpPr/>
                <p:nvPr/>
              </p:nvGrpSpPr>
              <p:grpSpPr>
                <a:xfrm>
                  <a:off x="1313695" y="5318845"/>
                  <a:ext cx="2191756" cy="183012"/>
                  <a:chOff x="1313695" y="5318845"/>
                  <a:chExt cx="2191756" cy="183012"/>
                </a:xfrm>
              </p:grpSpPr>
              <p:sp>
                <p:nvSpPr>
                  <p:cNvPr id="28" name="TextBox 28"/>
                  <p:cNvSpPr txBox="1"/>
                  <p:nvPr/>
                </p:nvSpPr>
                <p:spPr>
                  <a:xfrm>
                    <a:off x="2476197" y="5320141"/>
                    <a:ext cx="1029254" cy="181716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marL="0" lvl="0" indent="0">
                      <a:lnSpc>
                        <a:spcPts val="1454"/>
                      </a:lnSpc>
                      <a:spcBef>
                        <a:spcPct val="0"/>
                      </a:spcBef>
                    </a:pPr>
                    <a:r>
                      <a:rPr lang="en-US" sz="1050" spc="207" dirty="0">
                        <a:solidFill>
                          <a:srgbClr val="242424"/>
                        </a:solidFill>
                        <a:latin typeface="Ovo"/>
                      </a:rPr>
                      <a:t>CEREMONY</a:t>
                    </a:r>
                  </a:p>
                </p:txBody>
              </p:sp>
              <p:sp>
                <p:nvSpPr>
                  <p:cNvPr id="29" name="TextBox 29"/>
                  <p:cNvSpPr txBox="1"/>
                  <p:nvPr/>
                </p:nvSpPr>
                <p:spPr>
                  <a:xfrm>
                    <a:off x="1313695" y="5318845"/>
                    <a:ext cx="686405" cy="183012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marL="0" lvl="0" indent="0" algn="l">
                      <a:lnSpc>
                        <a:spcPts val="1454"/>
                      </a:lnSpc>
                      <a:spcBef>
                        <a:spcPct val="0"/>
                      </a:spcBef>
                    </a:pPr>
                    <a:r>
                      <a:rPr lang="en-US" sz="1050" u="none" strike="noStrike" spc="207" dirty="0">
                        <a:solidFill>
                          <a:srgbClr val="242424"/>
                        </a:solidFill>
                        <a:latin typeface="Ovo"/>
                      </a:rPr>
                      <a:t>4:30PM</a:t>
                    </a:r>
                  </a:p>
                </p:txBody>
              </p:sp>
            </p:grpSp>
            <p:grpSp>
              <p:nvGrpSpPr>
                <p:cNvPr id="23" name="Group 22">
                  <a:extLst>
                    <a:ext uri="{FF2B5EF4-FFF2-40B4-BE49-F238E27FC236}">
                      <a16:creationId xmlns:a16="http://schemas.microsoft.com/office/drawing/2014/main" id="{CB7FE899-C3F4-66D9-FB3B-1ED6B28279EF}"/>
                    </a:ext>
                  </a:extLst>
                </p:cNvPr>
                <p:cNvGrpSpPr/>
                <p:nvPr/>
              </p:nvGrpSpPr>
              <p:grpSpPr>
                <a:xfrm>
                  <a:off x="1313695" y="5842713"/>
                  <a:ext cx="2611636" cy="183012"/>
                  <a:chOff x="1313695" y="5842714"/>
                  <a:chExt cx="2611636" cy="183012"/>
                </a:xfrm>
              </p:grpSpPr>
              <p:sp>
                <p:nvSpPr>
                  <p:cNvPr id="30" name="TextBox 30"/>
                  <p:cNvSpPr txBox="1"/>
                  <p:nvPr/>
                </p:nvSpPr>
                <p:spPr>
                  <a:xfrm>
                    <a:off x="2476197" y="5844010"/>
                    <a:ext cx="1449134" cy="181716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marL="0" lvl="0" indent="0">
                      <a:lnSpc>
                        <a:spcPts val="1454"/>
                      </a:lnSpc>
                      <a:spcBef>
                        <a:spcPct val="0"/>
                      </a:spcBef>
                    </a:pPr>
                    <a:r>
                      <a:rPr lang="en-US" sz="1050" spc="207" dirty="0">
                        <a:solidFill>
                          <a:srgbClr val="242424"/>
                        </a:solidFill>
                        <a:latin typeface="Ovo"/>
                      </a:rPr>
                      <a:t>COCKTAIL HOUR</a:t>
                    </a:r>
                  </a:p>
                </p:txBody>
              </p:sp>
              <p:sp>
                <p:nvSpPr>
                  <p:cNvPr id="31" name="TextBox 31"/>
                  <p:cNvSpPr txBox="1"/>
                  <p:nvPr/>
                </p:nvSpPr>
                <p:spPr>
                  <a:xfrm>
                    <a:off x="1313695" y="5842714"/>
                    <a:ext cx="686405" cy="183012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marL="0" lvl="0" indent="0" algn="l">
                      <a:lnSpc>
                        <a:spcPts val="1454"/>
                      </a:lnSpc>
                      <a:spcBef>
                        <a:spcPct val="0"/>
                      </a:spcBef>
                    </a:pPr>
                    <a:r>
                      <a:rPr lang="en-US" sz="1050" u="none" strike="noStrike" spc="207" dirty="0">
                        <a:solidFill>
                          <a:srgbClr val="242424"/>
                        </a:solidFill>
                        <a:latin typeface="Ovo"/>
                      </a:rPr>
                      <a:t>5:30PM</a:t>
                    </a:r>
                  </a:p>
                </p:txBody>
              </p:sp>
            </p:grpSp>
            <p:grpSp>
              <p:nvGrpSpPr>
                <p:cNvPr id="44" name="Group 43">
                  <a:extLst>
                    <a:ext uri="{FF2B5EF4-FFF2-40B4-BE49-F238E27FC236}">
                      <a16:creationId xmlns:a16="http://schemas.microsoft.com/office/drawing/2014/main" id="{80DC307F-635B-5529-7908-255CB8CF18AF}"/>
                    </a:ext>
                  </a:extLst>
                </p:cNvPr>
                <p:cNvGrpSpPr/>
                <p:nvPr/>
              </p:nvGrpSpPr>
              <p:grpSpPr>
                <a:xfrm>
                  <a:off x="1313695" y="6366581"/>
                  <a:ext cx="3182673" cy="183012"/>
                  <a:chOff x="1313695" y="6366580"/>
                  <a:chExt cx="3182673" cy="183012"/>
                </a:xfrm>
              </p:grpSpPr>
              <p:sp>
                <p:nvSpPr>
                  <p:cNvPr id="32" name="TextBox 32"/>
                  <p:cNvSpPr txBox="1"/>
                  <p:nvPr/>
                </p:nvSpPr>
                <p:spPr>
                  <a:xfrm>
                    <a:off x="2476197" y="6367876"/>
                    <a:ext cx="2020171" cy="181716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marL="0" lvl="0" indent="0">
                      <a:lnSpc>
                        <a:spcPts val="1454"/>
                      </a:lnSpc>
                      <a:spcBef>
                        <a:spcPct val="0"/>
                      </a:spcBef>
                    </a:pPr>
                    <a:r>
                      <a:rPr lang="en-US" sz="1050" spc="207" dirty="0">
                        <a:solidFill>
                          <a:srgbClr val="242424"/>
                        </a:solidFill>
                        <a:latin typeface="Ovo"/>
                      </a:rPr>
                      <a:t>RECEPTION ENTRANCE</a:t>
                    </a:r>
                  </a:p>
                </p:txBody>
              </p:sp>
              <p:sp>
                <p:nvSpPr>
                  <p:cNvPr id="33" name="TextBox 33"/>
                  <p:cNvSpPr txBox="1"/>
                  <p:nvPr/>
                </p:nvSpPr>
                <p:spPr>
                  <a:xfrm>
                    <a:off x="1313695" y="6366580"/>
                    <a:ext cx="686405" cy="183012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marL="0" lvl="0" indent="0" algn="l">
                      <a:lnSpc>
                        <a:spcPts val="1454"/>
                      </a:lnSpc>
                      <a:spcBef>
                        <a:spcPct val="0"/>
                      </a:spcBef>
                    </a:pPr>
                    <a:r>
                      <a:rPr lang="en-US" sz="1050" u="none" strike="noStrike" spc="207" dirty="0">
                        <a:solidFill>
                          <a:srgbClr val="242424"/>
                        </a:solidFill>
                        <a:latin typeface="Ovo"/>
                      </a:rPr>
                      <a:t>6:30PM</a:t>
                    </a:r>
                  </a:p>
                </p:txBody>
              </p:sp>
            </p:grpSp>
            <p:grpSp>
              <p:nvGrpSpPr>
                <p:cNvPr id="45" name="Group 44">
                  <a:extLst>
                    <a:ext uri="{FF2B5EF4-FFF2-40B4-BE49-F238E27FC236}">
                      <a16:creationId xmlns:a16="http://schemas.microsoft.com/office/drawing/2014/main" id="{F7D6FF27-9C79-2F81-265B-F479CDFB4A0D}"/>
                    </a:ext>
                  </a:extLst>
                </p:cNvPr>
                <p:cNvGrpSpPr/>
                <p:nvPr/>
              </p:nvGrpSpPr>
              <p:grpSpPr>
                <a:xfrm>
                  <a:off x="1313695" y="6890449"/>
                  <a:ext cx="1887069" cy="183012"/>
                  <a:chOff x="1313695" y="6890449"/>
                  <a:chExt cx="1887069" cy="183012"/>
                </a:xfrm>
              </p:grpSpPr>
              <p:sp>
                <p:nvSpPr>
                  <p:cNvPr id="34" name="TextBox 34"/>
                  <p:cNvSpPr txBox="1"/>
                  <p:nvPr/>
                </p:nvSpPr>
                <p:spPr>
                  <a:xfrm>
                    <a:off x="2476197" y="6891745"/>
                    <a:ext cx="724567" cy="181716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marL="0" lvl="0" indent="0">
                      <a:lnSpc>
                        <a:spcPts val="1454"/>
                      </a:lnSpc>
                      <a:spcBef>
                        <a:spcPct val="0"/>
                      </a:spcBef>
                    </a:pPr>
                    <a:r>
                      <a:rPr lang="en-US" sz="1050" spc="207" dirty="0">
                        <a:solidFill>
                          <a:srgbClr val="242424"/>
                        </a:solidFill>
                        <a:latin typeface="Ovo"/>
                      </a:rPr>
                      <a:t>DINNER</a:t>
                    </a:r>
                  </a:p>
                </p:txBody>
              </p:sp>
              <p:sp>
                <p:nvSpPr>
                  <p:cNvPr id="35" name="TextBox 35"/>
                  <p:cNvSpPr txBox="1"/>
                  <p:nvPr/>
                </p:nvSpPr>
                <p:spPr>
                  <a:xfrm>
                    <a:off x="1313695" y="6890449"/>
                    <a:ext cx="686405" cy="183012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marL="0" lvl="0" indent="0" algn="l">
                      <a:lnSpc>
                        <a:spcPts val="1454"/>
                      </a:lnSpc>
                      <a:spcBef>
                        <a:spcPct val="0"/>
                      </a:spcBef>
                    </a:pPr>
                    <a:r>
                      <a:rPr lang="en-US" sz="1050" u="none" strike="noStrike" spc="207" dirty="0">
                        <a:solidFill>
                          <a:srgbClr val="242424"/>
                        </a:solidFill>
                        <a:latin typeface="Ovo"/>
                      </a:rPr>
                      <a:t>7:00PM</a:t>
                    </a:r>
                  </a:p>
                </p:txBody>
              </p:sp>
            </p:grpSp>
            <p:grpSp>
              <p:nvGrpSpPr>
                <p:cNvPr id="48" name="Group 47">
                  <a:extLst>
                    <a:ext uri="{FF2B5EF4-FFF2-40B4-BE49-F238E27FC236}">
                      <a16:creationId xmlns:a16="http://schemas.microsoft.com/office/drawing/2014/main" id="{ED176A68-B22C-5E26-3D43-05EC5ACED6E8}"/>
                    </a:ext>
                  </a:extLst>
                </p:cNvPr>
                <p:cNvGrpSpPr/>
                <p:nvPr/>
              </p:nvGrpSpPr>
              <p:grpSpPr>
                <a:xfrm>
                  <a:off x="1313695" y="7414317"/>
                  <a:ext cx="2357335" cy="183012"/>
                  <a:chOff x="1313695" y="7414318"/>
                  <a:chExt cx="2357335" cy="183012"/>
                </a:xfrm>
              </p:grpSpPr>
              <p:sp>
                <p:nvSpPr>
                  <p:cNvPr id="36" name="TextBox 36"/>
                  <p:cNvSpPr txBox="1"/>
                  <p:nvPr/>
                </p:nvSpPr>
                <p:spPr>
                  <a:xfrm>
                    <a:off x="2476197" y="7415614"/>
                    <a:ext cx="1194833" cy="181716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marL="0" lvl="0" indent="0">
                      <a:lnSpc>
                        <a:spcPts val="1454"/>
                      </a:lnSpc>
                      <a:spcBef>
                        <a:spcPct val="0"/>
                      </a:spcBef>
                    </a:pPr>
                    <a:r>
                      <a:rPr lang="en-US" sz="1050" spc="207" dirty="0">
                        <a:solidFill>
                          <a:srgbClr val="242424"/>
                        </a:solidFill>
                        <a:latin typeface="Ovo"/>
                      </a:rPr>
                      <a:t>FIRST DANCE</a:t>
                    </a:r>
                  </a:p>
                </p:txBody>
              </p:sp>
              <p:sp>
                <p:nvSpPr>
                  <p:cNvPr id="37" name="TextBox 37"/>
                  <p:cNvSpPr txBox="1"/>
                  <p:nvPr/>
                </p:nvSpPr>
                <p:spPr>
                  <a:xfrm>
                    <a:off x="1313695" y="7414318"/>
                    <a:ext cx="686405" cy="183012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marL="0" lvl="0" indent="0" algn="l">
                      <a:lnSpc>
                        <a:spcPts val="1454"/>
                      </a:lnSpc>
                      <a:spcBef>
                        <a:spcPct val="0"/>
                      </a:spcBef>
                    </a:pPr>
                    <a:r>
                      <a:rPr lang="en-US" sz="1050" u="none" strike="noStrike" spc="207" dirty="0">
                        <a:solidFill>
                          <a:srgbClr val="242424"/>
                        </a:solidFill>
                        <a:latin typeface="Ovo"/>
                      </a:rPr>
                      <a:t>8:00PM</a:t>
                    </a:r>
                  </a:p>
                </p:txBody>
              </p:sp>
            </p:grpSp>
            <p:grpSp>
              <p:nvGrpSpPr>
                <p:cNvPr id="49" name="Group 48">
                  <a:extLst>
                    <a:ext uri="{FF2B5EF4-FFF2-40B4-BE49-F238E27FC236}">
                      <a16:creationId xmlns:a16="http://schemas.microsoft.com/office/drawing/2014/main" id="{5E3E956F-4DAD-4E1B-095A-64E03A006A7F}"/>
                    </a:ext>
                  </a:extLst>
                </p:cNvPr>
                <p:cNvGrpSpPr/>
                <p:nvPr/>
              </p:nvGrpSpPr>
              <p:grpSpPr>
                <a:xfrm>
                  <a:off x="1313695" y="7938185"/>
                  <a:ext cx="2509105" cy="183012"/>
                  <a:chOff x="1313695" y="7938186"/>
                  <a:chExt cx="2509105" cy="183012"/>
                </a:xfrm>
              </p:grpSpPr>
              <p:sp>
                <p:nvSpPr>
                  <p:cNvPr id="38" name="TextBox 38"/>
                  <p:cNvSpPr txBox="1"/>
                  <p:nvPr/>
                </p:nvSpPr>
                <p:spPr>
                  <a:xfrm>
                    <a:off x="2476197" y="7939482"/>
                    <a:ext cx="1346603" cy="181716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marL="0" lvl="0" indent="0">
                      <a:lnSpc>
                        <a:spcPts val="1454"/>
                      </a:lnSpc>
                      <a:spcBef>
                        <a:spcPct val="0"/>
                      </a:spcBef>
                    </a:pPr>
                    <a:r>
                      <a:rPr lang="en-US" sz="1050" spc="207" dirty="0">
                        <a:solidFill>
                          <a:srgbClr val="242424"/>
                        </a:solidFill>
                        <a:latin typeface="Ovo"/>
                      </a:rPr>
                      <a:t>CAKE CUTTING</a:t>
                    </a:r>
                  </a:p>
                </p:txBody>
              </p:sp>
              <p:sp>
                <p:nvSpPr>
                  <p:cNvPr id="39" name="TextBox 39"/>
                  <p:cNvSpPr txBox="1"/>
                  <p:nvPr/>
                </p:nvSpPr>
                <p:spPr>
                  <a:xfrm>
                    <a:off x="1313695" y="7938186"/>
                    <a:ext cx="686405" cy="183012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marL="0" lvl="0" indent="0" algn="l">
                      <a:lnSpc>
                        <a:spcPts val="1454"/>
                      </a:lnSpc>
                      <a:spcBef>
                        <a:spcPct val="0"/>
                      </a:spcBef>
                    </a:pPr>
                    <a:r>
                      <a:rPr lang="en-US" sz="1050" u="none" strike="noStrike" spc="207" dirty="0">
                        <a:solidFill>
                          <a:srgbClr val="242424"/>
                        </a:solidFill>
                        <a:latin typeface="Ovo"/>
                      </a:rPr>
                      <a:t>8:15PM</a:t>
                    </a:r>
                  </a:p>
                </p:txBody>
              </p:sp>
            </p:grpSp>
            <p:grpSp>
              <p:nvGrpSpPr>
                <p:cNvPr id="50" name="Group 49">
                  <a:extLst>
                    <a:ext uri="{FF2B5EF4-FFF2-40B4-BE49-F238E27FC236}">
                      <a16:creationId xmlns:a16="http://schemas.microsoft.com/office/drawing/2014/main" id="{F4936BAA-B3AF-1F76-D5C8-6F1E229248B4}"/>
                    </a:ext>
                  </a:extLst>
                </p:cNvPr>
                <p:cNvGrpSpPr/>
                <p:nvPr/>
              </p:nvGrpSpPr>
              <p:grpSpPr>
                <a:xfrm>
                  <a:off x="1313695" y="8462053"/>
                  <a:ext cx="3841348" cy="183012"/>
                  <a:chOff x="1313695" y="8462053"/>
                  <a:chExt cx="3841348" cy="183012"/>
                </a:xfrm>
              </p:grpSpPr>
              <p:sp>
                <p:nvSpPr>
                  <p:cNvPr id="25" name="TextBox 25"/>
                  <p:cNvSpPr txBox="1"/>
                  <p:nvPr/>
                </p:nvSpPr>
                <p:spPr>
                  <a:xfrm>
                    <a:off x="2476197" y="8463349"/>
                    <a:ext cx="2678846" cy="181716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marL="0" lvl="0" indent="0">
                      <a:lnSpc>
                        <a:spcPts val="1454"/>
                      </a:lnSpc>
                      <a:spcBef>
                        <a:spcPct val="0"/>
                      </a:spcBef>
                    </a:pPr>
                    <a:r>
                      <a:rPr lang="en-US" sz="1050" spc="207" dirty="0">
                        <a:solidFill>
                          <a:srgbClr val="242424"/>
                        </a:solidFill>
                        <a:latin typeface="Ovo"/>
                      </a:rPr>
                      <a:t>CELEBRATIONS</a:t>
                    </a:r>
                  </a:p>
                </p:txBody>
              </p:sp>
              <p:sp>
                <p:nvSpPr>
                  <p:cNvPr id="40" name="TextBox 40"/>
                  <p:cNvSpPr txBox="1"/>
                  <p:nvPr/>
                </p:nvSpPr>
                <p:spPr>
                  <a:xfrm>
                    <a:off x="1313695" y="8462053"/>
                    <a:ext cx="686405" cy="183012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marL="0" lvl="0" indent="0" algn="l">
                      <a:lnSpc>
                        <a:spcPts val="1454"/>
                      </a:lnSpc>
                      <a:spcBef>
                        <a:spcPct val="0"/>
                      </a:spcBef>
                    </a:pPr>
                    <a:r>
                      <a:rPr lang="en-US" sz="1050" u="none" strike="noStrike" spc="207" dirty="0">
                        <a:solidFill>
                          <a:srgbClr val="242424"/>
                        </a:solidFill>
                        <a:latin typeface="Ovo"/>
                      </a:rPr>
                      <a:t>8:30PM</a:t>
                    </a:r>
                  </a:p>
                </p:txBody>
              </p:sp>
            </p:grpSp>
          </p:grpSp>
        </p:grp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2C90D529-D1D6-D02C-0447-55BA55165227}"/>
                </a:ext>
              </a:extLst>
            </p:cNvPr>
            <p:cNvGrpSpPr/>
            <p:nvPr/>
          </p:nvGrpSpPr>
          <p:grpSpPr>
            <a:xfrm>
              <a:off x="890972" y="2954212"/>
              <a:ext cx="4309196" cy="1144637"/>
              <a:chOff x="890972" y="2954212"/>
              <a:chExt cx="4309196" cy="1144637"/>
            </a:xfrm>
          </p:grpSpPr>
          <p:sp>
            <p:nvSpPr>
              <p:cNvPr id="13" name="AutoShape 13"/>
              <p:cNvSpPr/>
              <p:nvPr/>
            </p:nvSpPr>
            <p:spPr>
              <a:xfrm flipV="1">
                <a:off x="2636936" y="3415906"/>
                <a:ext cx="0" cy="583099"/>
              </a:xfrm>
              <a:prstGeom prst="line">
                <a:avLst/>
              </a:prstGeom>
              <a:ln w="9525" cap="flat">
                <a:solidFill>
                  <a:srgbClr val="959491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2" name="Freeform 12"/>
              <p:cNvSpPr/>
              <p:nvPr/>
            </p:nvSpPr>
            <p:spPr>
              <a:xfrm>
                <a:off x="1112333" y="3490058"/>
                <a:ext cx="558434" cy="447445"/>
              </a:xfrm>
              <a:custGeom>
                <a:avLst/>
                <a:gdLst/>
                <a:ahLst/>
                <a:cxnLst/>
                <a:rect l="l" t="t" r="r" b="b"/>
                <a:pathLst>
                  <a:path w="558434" h="447445">
                    <a:moveTo>
                      <a:pt x="0" y="0"/>
                    </a:moveTo>
                    <a:lnTo>
                      <a:pt x="558434" y="0"/>
                    </a:lnTo>
                    <a:lnTo>
                      <a:pt x="558434" y="447445"/>
                    </a:lnTo>
                    <a:lnTo>
                      <a:pt x="0" y="447445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5" name="Freeform 15"/>
              <p:cNvSpPr/>
              <p:nvPr/>
            </p:nvSpPr>
            <p:spPr>
              <a:xfrm>
                <a:off x="2613891" y="3087661"/>
                <a:ext cx="46090" cy="4609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A5A5A5"/>
              </a:solid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7" name="TextBox 17"/>
              <p:cNvSpPr txBox="1"/>
              <p:nvPr/>
            </p:nvSpPr>
            <p:spPr>
              <a:xfrm>
                <a:off x="2864280" y="3033412"/>
                <a:ext cx="2163088" cy="111505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>
                  <a:lnSpc>
                    <a:spcPts val="947"/>
                  </a:lnSpc>
                  <a:spcBef>
                    <a:spcPct val="0"/>
                  </a:spcBef>
                </a:pPr>
                <a:r>
                  <a:rPr lang="en-US" sz="700" spc="135" dirty="0">
                    <a:solidFill>
                      <a:srgbClr val="242424"/>
                    </a:solidFill>
                    <a:latin typeface="Ovo"/>
                  </a:rPr>
                  <a:t>456 OAK AVENUE, SMALLTOWN, USA</a:t>
                </a:r>
              </a:p>
            </p:txBody>
          </p:sp>
          <p:sp>
            <p:nvSpPr>
              <p:cNvPr id="18" name="TextBox 18"/>
              <p:cNvSpPr txBox="1"/>
              <p:nvPr/>
            </p:nvSpPr>
            <p:spPr>
              <a:xfrm>
                <a:off x="1025654" y="3033412"/>
                <a:ext cx="1406679" cy="111505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r">
                  <a:lnSpc>
                    <a:spcPts val="947"/>
                  </a:lnSpc>
                  <a:spcBef>
                    <a:spcPct val="0"/>
                  </a:spcBef>
                </a:pPr>
                <a:r>
                  <a:rPr lang="en-US" sz="700" spc="135" dirty="0">
                    <a:solidFill>
                      <a:srgbClr val="242424"/>
                    </a:solidFill>
                    <a:latin typeface="Ovo" panose="02020502070400060406" pitchFamily="18" charset="0"/>
                    <a:ea typeface="Cardo" panose="02020600000000000000" pitchFamily="18" charset="-79"/>
                    <a:cs typeface="Cardo" panose="02020600000000000000" pitchFamily="18" charset="-79"/>
                  </a:rPr>
                  <a:t>EVERGREEN MEADOWS</a:t>
                </a:r>
              </a:p>
            </p:txBody>
          </p:sp>
          <p:sp>
            <p:nvSpPr>
              <p:cNvPr id="19" name="TextBox 19"/>
              <p:cNvSpPr txBox="1"/>
              <p:nvPr/>
            </p:nvSpPr>
            <p:spPr>
              <a:xfrm>
                <a:off x="1838496" y="3458110"/>
                <a:ext cx="628252" cy="40041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>
                  <a:lnSpc>
                    <a:spcPts val="1520"/>
                  </a:lnSpc>
                </a:pPr>
                <a:r>
                  <a:rPr lang="en-US" sz="1500" spc="304" dirty="0">
                    <a:solidFill>
                      <a:srgbClr val="242424"/>
                    </a:solidFill>
                    <a:latin typeface="Ovo" panose="02020502070400060406" pitchFamily="18" charset="0"/>
                  </a:rPr>
                  <a:t>JUNE 15TH</a:t>
                </a:r>
              </a:p>
            </p:txBody>
          </p:sp>
          <p:sp>
            <p:nvSpPr>
              <p:cNvPr id="20" name="TextBox 20"/>
              <p:cNvSpPr txBox="1"/>
              <p:nvPr/>
            </p:nvSpPr>
            <p:spPr>
              <a:xfrm>
                <a:off x="2864280" y="3428693"/>
                <a:ext cx="2182352" cy="557525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1101"/>
                  </a:lnSpc>
                </a:pPr>
                <a:r>
                  <a:rPr lang="en-US" sz="800" spc="61" dirty="0">
                    <a:solidFill>
                      <a:srgbClr val="242424"/>
                    </a:solidFill>
                    <a:latin typeface="Ovo"/>
                  </a:rPr>
                  <a:t>We're thrilled to have you join us today </a:t>
                </a:r>
              </a:p>
              <a:p>
                <a:pPr>
                  <a:lnSpc>
                    <a:spcPts val="1101"/>
                  </a:lnSpc>
                </a:pPr>
                <a:r>
                  <a:rPr lang="en-US" sz="800" spc="61" dirty="0">
                    <a:solidFill>
                      <a:srgbClr val="242424"/>
                    </a:solidFill>
                    <a:latin typeface="Ovo"/>
                  </a:rPr>
                  <a:t>for the love celebration of Emily Clark </a:t>
                </a:r>
              </a:p>
              <a:p>
                <a:pPr>
                  <a:lnSpc>
                    <a:spcPts val="1101"/>
                  </a:lnSpc>
                </a:pPr>
                <a:r>
                  <a:rPr lang="en-US" sz="800" spc="61" dirty="0">
                    <a:solidFill>
                      <a:srgbClr val="242424"/>
                    </a:solidFill>
                    <a:latin typeface="Ovo"/>
                  </a:rPr>
                  <a:t>and David Brown. Your presence here </a:t>
                </a:r>
              </a:p>
              <a:p>
                <a:pPr marL="0" lvl="0" indent="0">
                  <a:lnSpc>
                    <a:spcPts val="1101"/>
                  </a:lnSpc>
                </a:pPr>
                <a:r>
                  <a:rPr lang="en-US" sz="800" spc="61" dirty="0">
                    <a:solidFill>
                      <a:srgbClr val="242424"/>
                    </a:solidFill>
                    <a:latin typeface="Ovo"/>
                  </a:rPr>
                  <a:t>adds to the joy of our special day.</a:t>
                </a:r>
              </a:p>
            </p:txBody>
          </p:sp>
          <p:sp>
            <p:nvSpPr>
              <p:cNvPr id="21" name="AutoShape 21"/>
              <p:cNvSpPr/>
              <p:nvPr/>
            </p:nvSpPr>
            <p:spPr>
              <a:xfrm flipV="1">
                <a:off x="890972" y="2954212"/>
                <a:ext cx="0" cy="1144637"/>
              </a:xfrm>
              <a:prstGeom prst="line">
                <a:avLst/>
              </a:prstGeom>
              <a:ln w="9525" cap="flat">
                <a:solidFill>
                  <a:srgbClr val="959491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2" name="AutoShape 22"/>
              <p:cNvSpPr/>
              <p:nvPr/>
            </p:nvSpPr>
            <p:spPr>
              <a:xfrm flipH="1" flipV="1">
                <a:off x="890972" y="3314135"/>
                <a:ext cx="4309196" cy="0"/>
              </a:xfrm>
              <a:prstGeom prst="line">
                <a:avLst/>
              </a:prstGeom>
              <a:ln w="9525" cap="flat">
                <a:solidFill>
                  <a:srgbClr val="959491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41" name="TextBox 41"/>
              <p:cNvSpPr txBox="1"/>
              <p:nvPr/>
            </p:nvSpPr>
            <p:spPr>
              <a:xfrm>
                <a:off x="1843676" y="3838132"/>
                <a:ext cx="583894" cy="132537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>
                  <a:lnSpc>
                    <a:spcPts val="1074"/>
                  </a:lnSpc>
                  <a:spcBef>
                    <a:spcPct val="0"/>
                  </a:spcBef>
                </a:pPr>
                <a:r>
                  <a:rPr lang="en-US" sz="750" spc="40" dirty="0">
                    <a:solidFill>
                      <a:srgbClr val="242424"/>
                    </a:solidFill>
                    <a:latin typeface="Ovo"/>
                  </a:rPr>
                  <a:t>AT 4:00 PM</a:t>
                </a:r>
              </a:p>
            </p:txBody>
          </p:sp>
        </p:grp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C13C4E94-AB91-FECB-497C-A946C0105A5B}"/>
                </a:ext>
              </a:extLst>
            </p:cNvPr>
            <p:cNvGrpSpPr/>
            <p:nvPr/>
          </p:nvGrpSpPr>
          <p:grpSpPr>
            <a:xfrm>
              <a:off x="871920" y="762385"/>
              <a:ext cx="4295385" cy="1747779"/>
              <a:chOff x="871920" y="762385"/>
              <a:chExt cx="4295385" cy="1747779"/>
            </a:xfrm>
          </p:grpSpPr>
          <p:sp>
            <p:nvSpPr>
              <p:cNvPr id="8" name="TextBox 8"/>
              <p:cNvSpPr txBox="1"/>
              <p:nvPr/>
            </p:nvSpPr>
            <p:spPr>
              <a:xfrm>
                <a:off x="883829" y="762385"/>
                <a:ext cx="2278024" cy="200055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1554"/>
                  </a:lnSpc>
                  <a:spcBef>
                    <a:spcPct val="0"/>
                  </a:spcBef>
                </a:pPr>
                <a:r>
                  <a:rPr lang="en-US" sz="1295" spc="259" dirty="0">
                    <a:solidFill>
                      <a:srgbClr val="242424"/>
                    </a:solidFill>
                    <a:latin typeface="Ovo" panose="02020502070400060406" pitchFamily="18" charset="0"/>
                  </a:rPr>
                  <a:t>LOVE CELEBRATION </a:t>
                </a:r>
              </a:p>
            </p:txBody>
          </p:sp>
          <p:sp>
            <p:nvSpPr>
              <p:cNvPr id="10" name="TextBox 10"/>
              <p:cNvSpPr txBox="1"/>
              <p:nvPr/>
            </p:nvSpPr>
            <p:spPr>
              <a:xfrm>
                <a:off x="871920" y="1413511"/>
                <a:ext cx="4295385" cy="1096653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4175"/>
                  </a:lnSpc>
                </a:pPr>
                <a:r>
                  <a:rPr lang="en-US" sz="4200" spc="208" dirty="0">
                    <a:solidFill>
                      <a:srgbClr val="242424"/>
                    </a:solidFill>
                    <a:latin typeface="Ovo"/>
                  </a:rPr>
                  <a:t>EMILY CLARK DAVID BROWN</a:t>
                </a:r>
              </a:p>
            </p:txBody>
          </p:sp>
          <p:sp>
            <p:nvSpPr>
              <p:cNvPr id="11" name="TextBox 11"/>
              <p:cNvSpPr txBox="1"/>
              <p:nvPr/>
            </p:nvSpPr>
            <p:spPr>
              <a:xfrm>
                <a:off x="4687653" y="1493207"/>
                <a:ext cx="339716" cy="414472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>
                  <a:lnSpc>
                    <a:spcPts val="3266"/>
                  </a:lnSpc>
                  <a:spcBef>
                    <a:spcPct val="0"/>
                  </a:spcBef>
                </a:pPr>
                <a:r>
                  <a:rPr lang="en-US" sz="2722" spc="212" dirty="0">
                    <a:solidFill>
                      <a:srgbClr val="242424"/>
                    </a:solidFill>
                    <a:latin typeface="Ovo"/>
                  </a:rPr>
                  <a:t>&amp; </a:t>
                </a:r>
              </a:p>
            </p:txBody>
          </p:sp>
        </p:grpSp>
        <p:sp>
          <p:nvSpPr>
            <p:cNvPr id="5" name="TemplateLAB"/>
            <p:cNvSpPr/>
            <p:nvPr/>
          </p:nvSpPr>
          <p:spPr>
            <a:xfrm>
              <a:off x="890972" y="9936000"/>
              <a:ext cx="519787" cy="85765"/>
            </a:xfrm>
            <a:custGeom>
              <a:avLst/>
              <a:gdLst/>
              <a:ahLst/>
              <a:cxnLst/>
              <a:rect l="l" t="t" r="r" b="b"/>
              <a:pathLst>
                <a:path w="519787" h="85765">
                  <a:moveTo>
                    <a:pt x="0" y="0"/>
                  </a:moveTo>
                  <a:lnTo>
                    <a:pt x="519787" y="0"/>
                  </a:lnTo>
                  <a:lnTo>
                    <a:pt x="519787" y="85765"/>
                  </a:lnTo>
                  <a:lnTo>
                    <a:pt x="0" y="85765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13">
                <a:alphaModFix amt="80000"/>
                <a:extLs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a:blipFill>
            <a:ln cap="sq">
              <a:noFill/>
              <a:prstDash val="solid"/>
              <a:miter/>
            </a:ln>
          </p:spPr>
          <p:txBody>
            <a:bodyPr/>
            <a:lstStyle/>
            <a:p>
              <a:endParaRPr lang="en-US" dirty="0"/>
            </a:p>
          </p:txBody>
        </p:sp>
      </p:grpSp>
    </p:spTree>
    <p:custDataLst>
      <p:tags r:id="rId1"/>
    </p:custData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95</TotalTime>
  <Words>91</Words>
  <Application>Microsoft Office PowerPoint</Application>
  <PresentationFormat>Custom</PresentationFormat>
  <Paragraphs>28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Calibri</vt:lpstr>
      <vt:lpstr>Ovo</vt:lpstr>
      <vt:lpstr>Office Them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ICK of Wedding program - A4 Portrait</dc:title>
  <dc:creator>Hoang Anh</dc:creator>
  <cp:lastModifiedBy>Hoang Anh</cp:lastModifiedBy>
  <cp:revision>33</cp:revision>
  <dcterms:created xsi:type="dcterms:W3CDTF">2006-08-16T00:00:00Z</dcterms:created>
  <dcterms:modified xsi:type="dcterms:W3CDTF">2024-04-27T17:07:20Z</dcterms:modified>
  <dc:identifier>DAGDhuXIiCA</dc:identifier>
</cp:coreProperties>
</file>